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6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F3083-5771-A7CA-4409-DA3B02EAA0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54D1851-C41E-F7F2-E6C2-9BD5B186E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0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EA722A-ACDF-02BC-6DBB-D02FC91282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H" dirty="0"/>
              <a:t>Graphic Slid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0A440F-FC85-660A-F21D-E872E9DC481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47513" y="6635750"/>
            <a:ext cx="344487" cy="206375"/>
          </a:xfrm>
          <a:prstGeom prst="rect">
            <a:avLst/>
          </a:prstGeom>
        </p:spPr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6820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0</TotalTime>
  <Words>4</Words>
  <Application>Microsoft Office PowerPoint</Application>
  <PresentationFormat>Widescreen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03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16</cp:revision>
  <dcterms:created xsi:type="dcterms:W3CDTF">2021-03-31T02:49:57Z</dcterms:created>
  <dcterms:modified xsi:type="dcterms:W3CDTF">2025-10-16T11:35:11Z</dcterms:modified>
  <cp:category/>
</cp:coreProperties>
</file>